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</p:sldMasterIdLst>
  <p:notesMasterIdLst>
    <p:notesMasterId r:id="rId11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1C7855-B21C-4BD4-A02E-C7F41251908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BD04C7-964D-4E8C-A1FF-F84245C278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944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demo.guru99.com/selenium/deprecated.html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selenium.dev/selenium/docs/api/java/index.html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By.cssClass</a:t>
            </a:r>
            <a:r>
              <a:rPr lang="en-US" dirty="0" smtClean="0"/>
              <a:t>(“</a:t>
            </a:r>
            <a:r>
              <a:rPr lang="en-US" dirty="0" err="1" smtClean="0"/>
              <a:t>font:contains</a:t>
            </a:r>
            <a:r>
              <a:rPr lang="en-US" dirty="0" smtClean="0"/>
              <a:t>(‘password’)”)).</a:t>
            </a:r>
            <a:r>
              <a:rPr lang="en-US" dirty="0" err="1" smtClean="0"/>
              <a:t>getText</a:t>
            </a:r>
            <a:r>
              <a:rPr lang="en-US" dirty="0" smtClean="0"/>
              <a:t>(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D04C7-964D-4E8C-A1FF-F84245C2781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246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popuptest.com/popuptest2.htm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D04C7-964D-4E8C-A1FF-F84245C2781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002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hlinkClick r:id="rId3"/>
              </a:rPr>
              <a:t>http://demo.guru99.com/selenium/deprecated.htm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 tooltip="https://www.selenium.dev/selenium/docs/api/java/index.html"/>
              </a:rPr>
              <a:t>https://www.selenium.dev/selenium/docs/api/java/index.html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D04C7-964D-4E8C-A1FF-F84245C27815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917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D04C7-964D-4E8C-A1FF-F84245C2781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12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D04C7-964D-4E8C-A1FF-F84245C27815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007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693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6919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256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755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862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354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7811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98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113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2370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8718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771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8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208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7597155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5010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082562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7439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778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7747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bg>
      <p:bgPr>
        <a:solidFill>
          <a:srgbClr val="E6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Freeform 6"/>
          <p:cNvSpPr>
            <a:spLocks/>
          </p:cNvSpPr>
          <p:nvPr userDrawn="1"/>
        </p:nvSpPr>
        <p:spPr bwMode="auto">
          <a:xfrm>
            <a:off x="3771900" y="1847851"/>
            <a:ext cx="8420100" cy="5010150"/>
          </a:xfrm>
          <a:custGeom>
            <a:avLst/>
            <a:gdLst/>
            <a:ahLst/>
            <a:cxnLst>
              <a:cxn ang="0">
                <a:pos x="5302" y="3130"/>
              </a:cxn>
              <a:cxn ang="0">
                <a:pos x="5302" y="994"/>
              </a:cxn>
              <a:cxn ang="0">
                <a:pos x="5302" y="982"/>
              </a:cxn>
              <a:cxn ang="0">
                <a:pos x="5302" y="966"/>
              </a:cxn>
              <a:cxn ang="0">
                <a:pos x="5298" y="962"/>
              </a:cxn>
              <a:cxn ang="0">
                <a:pos x="5284" y="968"/>
              </a:cxn>
              <a:cxn ang="0">
                <a:pos x="5234" y="992"/>
              </a:cxn>
              <a:cxn ang="0">
                <a:pos x="5132" y="1030"/>
              </a:cxn>
              <a:cxn ang="0">
                <a:pos x="5080" y="1044"/>
              </a:cxn>
              <a:cxn ang="0">
                <a:pos x="4944" y="1076"/>
              </a:cxn>
              <a:cxn ang="0">
                <a:pos x="4806" y="1094"/>
              </a:cxn>
              <a:cxn ang="0">
                <a:pos x="4668" y="1104"/>
              </a:cxn>
              <a:cxn ang="0">
                <a:pos x="4528" y="1102"/>
              </a:cxn>
              <a:cxn ang="0">
                <a:pos x="4436" y="1098"/>
              </a:cxn>
              <a:cxn ang="0">
                <a:pos x="4254" y="1080"/>
              </a:cxn>
              <a:cxn ang="0">
                <a:pos x="4074" y="1054"/>
              </a:cxn>
              <a:cxn ang="0">
                <a:pos x="3894" y="1018"/>
              </a:cxn>
              <a:cxn ang="0">
                <a:pos x="3806" y="996"/>
              </a:cxn>
              <a:cxn ang="0">
                <a:pos x="3518" y="918"/>
              </a:cxn>
              <a:cxn ang="0">
                <a:pos x="3236" y="828"/>
              </a:cxn>
              <a:cxn ang="0">
                <a:pos x="2956" y="724"/>
              </a:cxn>
              <a:cxn ang="0">
                <a:pos x="2680" y="612"/>
              </a:cxn>
              <a:cxn ang="0">
                <a:pos x="2522" y="544"/>
              </a:cxn>
              <a:cxn ang="0">
                <a:pos x="2210" y="402"/>
              </a:cxn>
              <a:cxn ang="0">
                <a:pos x="1902" y="250"/>
              </a:cxn>
              <a:cxn ang="0">
                <a:pos x="1596" y="92"/>
              </a:cxn>
              <a:cxn ang="0">
                <a:pos x="1446" y="10"/>
              </a:cxn>
              <a:cxn ang="0">
                <a:pos x="1434" y="4"/>
              </a:cxn>
              <a:cxn ang="0">
                <a:pos x="1432" y="0"/>
              </a:cxn>
              <a:cxn ang="0">
                <a:pos x="1424" y="0"/>
              </a:cxn>
              <a:cxn ang="0">
                <a:pos x="1286" y="88"/>
              </a:cxn>
              <a:cxn ang="0">
                <a:pos x="1132" y="194"/>
              </a:cxn>
              <a:cxn ang="0">
                <a:pos x="982" y="304"/>
              </a:cxn>
              <a:cxn ang="0">
                <a:pos x="838" y="422"/>
              </a:cxn>
              <a:cxn ang="0">
                <a:pos x="702" y="548"/>
              </a:cxn>
              <a:cxn ang="0">
                <a:pos x="660" y="592"/>
              </a:cxn>
              <a:cxn ang="0">
                <a:pos x="578" y="678"/>
              </a:cxn>
              <a:cxn ang="0">
                <a:pos x="500" y="768"/>
              </a:cxn>
              <a:cxn ang="0">
                <a:pos x="428" y="862"/>
              </a:cxn>
              <a:cxn ang="0">
                <a:pos x="360" y="958"/>
              </a:cxn>
              <a:cxn ang="0">
                <a:pos x="296" y="1058"/>
              </a:cxn>
              <a:cxn ang="0">
                <a:pos x="240" y="1162"/>
              </a:cxn>
              <a:cxn ang="0">
                <a:pos x="188" y="1270"/>
              </a:cxn>
              <a:cxn ang="0">
                <a:pos x="164" y="1326"/>
              </a:cxn>
              <a:cxn ang="0">
                <a:pos x="114" y="1460"/>
              </a:cxn>
              <a:cxn ang="0">
                <a:pos x="72" y="1596"/>
              </a:cxn>
              <a:cxn ang="0">
                <a:pos x="42" y="1736"/>
              </a:cxn>
              <a:cxn ang="0">
                <a:pos x="18" y="1876"/>
              </a:cxn>
              <a:cxn ang="0">
                <a:pos x="10" y="1958"/>
              </a:cxn>
              <a:cxn ang="0">
                <a:pos x="4" y="2038"/>
              </a:cxn>
              <a:cxn ang="0">
                <a:pos x="2" y="2052"/>
              </a:cxn>
              <a:cxn ang="0">
                <a:pos x="0" y="2054"/>
              </a:cxn>
              <a:cxn ang="0">
                <a:pos x="0" y="2312"/>
              </a:cxn>
              <a:cxn ang="0">
                <a:pos x="6" y="2330"/>
              </a:cxn>
              <a:cxn ang="0">
                <a:pos x="6" y="2350"/>
              </a:cxn>
              <a:cxn ang="0">
                <a:pos x="26" y="2552"/>
              </a:cxn>
              <a:cxn ang="0">
                <a:pos x="56" y="2752"/>
              </a:cxn>
              <a:cxn ang="0">
                <a:pos x="100" y="2950"/>
              </a:cxn>
              <a:cxn ang="0">
                <a:pos x="150" y="3148"/>
              </a:cxn>
              <a:cxn ang="0">
                <a:pos x="154" y="3156"/>
              </a:cxn>
              <a:cxn ang="0">
                <a:pos x="5304" y="3156"/>
              </a:cxn>
              <a:cxn ang="0">
                <a:pos x="5302" y="3130"/>
              </a:cxn>
            </a:cxnLst>
            <a:rect l="0" t="0" r="r" b="b"/>
            <a:pathLst>
              <a:path w="5304" h="3156">
                <a:moveTo>
                  <a:pt x="5302" y="3130"/>
                </a:moveTo>
                <a:lnTo>
                  <a:pt x="5302" y="3130"/>
                </a:lnTo>
                <a:lnTo>
                  <a:pt x="5302" y="994"/>
                </a:lnTo>
                <a:lnTo>
                  <a:pt x="5302" y="994"/>
                </a:lnTo>
                <a:lnTo>
                  <a:pt x="5302" y="982"/>
                </a:lnTo>
                <a:lnTo>
                  <a:pt x="5302" y="982"/>
                </a:lnTo>
                <a:lnTo>
                  <a:pt x="5302" y="968"/>
                </a:lnTo>
                <a:lnTo>
                  <a:pt x="5302" y="966"/>
                </a:lnTo>
                <a:lnTo>
                  <a:pt x="5300" y="964"/>
                </a:lnTo>
                <a:lnTo>
                  <a:pt x="5298" y="962"/>
                </a:lnTo>
                <a:lnTo>
                  <a:pt x="5294" y="964"/>
                </a:lnTo>
                <a:lnTo>
                  <a:pt x="5284" y="968"/>
                </a:lnTo>
                <a:lnTo>
                  <a:pt x="5284" y="968"/>
                </a:lnTo>
                <a:lnTo>
                  <a:pt x="5234" y="992"/>
                </a:lnTo>
                <a:lnTo>
                  <a:pt x="5184" y="1012"/>
                </a:lnTo>
                <a:lnTo>
                  <a:pt x="5132" y="1030"/>
                </a:lnTo>
                <a:lnTo>
                  <a:pt x="5080" y="1044"/>
                </a:lnTo>
                <a:lnTo>
                  <a:pt x="5080" y="1044"/>
                </a:lnTo>
                <a:lnTo>
                  <a:pt x="5012" y="1062"/>
                </a:lnTo>
                <a:lnTo>
                  <a:pt x="4944" y="1076"/>
                </a:lnTo>
                <a:lnTo>
                  <a:pt x="4876" y="1086"/>
                </a:lnTo>
                <a:lnTo>
                  <a:pt x="4806" y="1094"/>
                </a:lnTo>
                <a:lnTo>
                  <a:pt x="4736" y="1100"/>
                </a:lnTo>
                <a:lnTo>
                  <a:pt x="4668" y="1104"/>
                </a:lnTo>
                <a:lnTo>
                  <a:pt x="4598" y="1104"/>
                </a:lnTo>
                <a:lnTo>
                  <a:pt x="4528" y="1102"/>
                </a:lnTo>
                <a:lnTo>
                  <a:pt x="4528" y="1102"/>
                </a:lnTo>
                <a:lnTo>
                  <a:pt x="4436" y="1098"/>
                </a:lnTo>
                <a:lnTo>
                  <a:pt x="4344" y="1090"/>
                </a:lnTo>
                <a:lnTo>
                  <a:pt x="4254" y="1080"/>
                </a:lnTo>
                <a:lnTo>
                  <a:pt x="4164" y="1068"/>
                </a:lnTo>
                <a:lnTo>
                  <a:pt x="4074" y="1054"/>
                </a:lnTo>
                <a:lnTo>
                  <a:pt x="3984" y="1036"/>
                </a:lnTo>
                <a:lnTo>
                  <a:pt x="3894" y="1018"/>
                </a:lnTo>
                <a:lnTo>
                  <a:pt x="3806" y="996"/>
                </a:lnTo>
                <a:lnTo>
                  <a:pt x="3806" y="996"/>
                </a:lnTo>
                <a:lnTo>
                  <a:pt x="3660" y="960"/>
                </a:lnTo>
                <a:lnTo>
                  <a:pt x="3518" y="918"/>
                </a:lnTo>
                <a:lnTo>
                  <a:pt x="3376" y="874"/>
                </a:lnTo>
                <a:lnTo>
                  <a:pt x="3236" y="828"/>
                </a:lnTo>
                <a:lnTo>
                  <a:pt x="3096" y="778"/>
                </a:lnTo>
                <a:lnTo>
                  <a:pt x="2956" y="724"/>
                </a:lnTo>
                <a:lnTo>
                  <a:pt x="2818" y="670"/>
                </a:lnTo>
                <a:lnTo>
                  <a:pt x="2680" y="612"/>
                </a:lnTo>
                <a:lnTo>
                  <a:pt x="2680" y="612"/>
                </a:lnTo>
                <a:lnTo>
                  <a:pt x="2522" y="544"/>
                </a:lnTo>
                <a:lnTo>
                  <a:pt x="2366" y="474"/>
                </a:lnTo>
                <a:lnTo>
                  <a:pt x="2210" y="402"/>
                </a:lnTo>
                <a:lnTo>
                  <a:pt x="2056" y="326"/>
                </a:lnTo>
                <a:lnTo>
                  <a:pt x="1902" y="250"/>
                </a:lnTo>
                <a:lnTo>
                  <a:pt x="1748" y="172"/>
                </a:lnTo>
                <a:lnTo>
                  <a:pt x="1596" y="92"/>
                </a:lnTo>
                <a:lnTo>
                  <a:pt x="1446" y="10"/>
                </a:lnTo>
                <a:lnTo>
                  <a:pt x="1446" y="10"/>
                </a:lnTo>
                <a:lnTo>
                  <a:pt x="1438" y="6"/>
                </a:lnTo>
                <a:lnTo>
                  <a:pt x="1434" y="4"/>
                </a:lnTo>
                <a:lnTo>
                  <a:pt x="1432" y="0"/>
                </a:lnTo>
                <a:lnTo>
                  <a:pt x="1432" y="0"/>
                </a:lnTo>
                <a:lnTo>
                  <a:pt x="1424" y="0"/>
                </a:lnTo>
                <a:lnTo>
                  <a:pt x="1424" y="0"/>
                </a:lnTo>
                <a:lnTo>
                  <a:pt x="1286" y="88"/>
                </a:lnTo>
                <a:lnTo>
                  <a:pt x="1286" y="88"/>
                </a:lnTo>
                <a:lnTo>
                  <a:pt x="1208" y="140"/>
                </a:lnTo>
                <a:lnTo>
                  <a:pt x="1132" y="194"/>
                </a:lnTo>
                <a:lnTo>
                  <a:pt x="1056" y="248"/>
                </a:lnTo>
                <a:lnTo>
                  <a:pt x="982" y="304"/>
                </a:lnTo>
                <a:lnTo>
                  <a:pt x="910" y="362"/>
                </a:lnTo>
                <a:lnTo>
                  <a:pt x="838" y="422"/>
                </a:lnTo>
                <a:lnTo>
                  <a:pt x="770" y="484"/>
                </a:lnTo>
                <a:lnTo>
                  <a:pt x="702" y="548"/>
                </a:lnTo>
                <a:lnTo>
                  <a:pt x="702" y="548"/>
                </a:lnTo>
                <a:lnTo>
                  <a:pt x="660" y="592"/>
                </a:lnTo>
                <a:lnTo>
                  <a:pt x="618" y="634"/>
                </a:lnTo>
                <a:lnTo>
                  <a:pt x="578" y="678"/>
                </a:lnTo>
                <a:lnTo>
                  <a:pt x="538" y="724"/>
                </a:lnTo>
                <a:lnTo>
                  <a:pt x="500" y="768"/>
                </a:lnTo>
                <a:lnTo>
                  <a:pt x="464" y="814"/>
                </a:lnTo>
                <a:lnTo>
                  <a:pt x="428" y="862"/>
                </a:lnTo>
                <a:lnTo>
                  <a:pt x="392" y="910"/>
                </a:lnTo>
                <a:lnTo>
                  <a:pt x="360" y="958"/>
                </a:lnTo>
                <a:lnTo>
                  <a:pt x="328" y="1008"/>
                </a:lnTo>
                <a:lnTo>
                  <a:pt x="296" y="1058"/>
                </a:lnTo>
                <a:lnTo>
                  <a:pt x="268" y="1110"/>
                </a:lnTo>
                <a:lnTo>
                  <a:pt x="240" y="1162"/>
                </a:lnTo>
                <a:lnTo>
                  <a:pt x="212" y="1216"/>
                </a:lnTo>
                <a:lnTo>
                  <a:pt x="188" y="1270"/>
                </a:lnTo>
                <a:lnTo>
                  <a:pt x="164" y="1326"/>
                </a:lnTo>
                <a:lnTo>
                  <a:pt x="164" y="1326"/>
                </a:lnTo>
                <a:lnTo>
                  <a:pt x="136" y="1392"/>
                </a:lnTo>
                <a:lnTo>
                  <a:pt x="114" y="1460"/>
                </a:lnTo>
                <a:lnTo>
                  <a:pt x="92" y="1528"/>
                </a:lnTo>
                <a:lnTo>
                  <a:pt x="72" y="1596"/>
                </a:lnTo>
                <a:lnTo>
                  <a:pt x="56" y="1666"/>
                </a:lnTo>
                <a:lnTo>
                  <a:pt x="42" y="1736"/>
                </a:lnTo>
                <a:lnTo>
                  <a:pt x="28" y="1806"/>
                </a:lnTo>
                <a:lnTo>
                  <a:pt x="18" y="1876"/>
                </a:lnTo>
                <a:lnTo>
                  <a:pt x="18" y="1876"/>
                </a:lnTo>
                <a:lnTo>
                  <a:pt x="10" y="1958"/>
                </a:lnTo>
                <a:lnTo>
                  <a:pt x="4" y="2038"/>
                </a:lnTo>
                <a:lnTo>
                  <a:pt x="4" y="2038"/>
                </a:lnTo>
                <a:lnTo>
                  <a:pt x="4" y="2048"/>
                </a:lnTo>
                <a:lnTo>
                  <a:pt x="2" y="2052"/>
                </a:lnTo>
                <a:lnTo>
                  <a:pt x="0" y="2054"/>
                </a:lnTo>
                <a:lnTo>
                  <a:pt x="0" y="2054"/>
                </a:lnTo>
                <a:lnTo>
                  <a:pt x="0" y="2312"/>
                </a:lnTo>
                <a:lnTo>
                  <a:pt x="0" y="2312"/>
                </a:lnTo>
                <a:lnTo>
                  <a:pt x="4" y="2320"/>
                </a:lnTo>
                <a:lnTo>
                  <a:pt x="6" y="2330"/>
                </a:lnTo>
                <a:lnTo>
                  <a:pt x="6" y="2350"/>
                </a:lnTo>
                <a:lnTo>
                  <a:pt x="6" y="2350"/>
                </a:lnTo>
                <a:lnTo>
                  <a:pt x="14" y="2452"/>
                </a:lnTo>
                <a:lnTo>
                  <a:pt x="26" y="2552"/>
                </a:lnTo>
                <a:lnTo>
                  <a:pt x="40" y="2652"/>
                </a:lnTo>
                <a:lnTo>
                  <a:pt x="56" y="2752"/>
                </a:lnTo>
                <a:lnTo>
                  <a:pt x="76" y="2852"/>
                </a:lnTo>
                <a:lnTo>
                  <a:pt x="100" y="2950"/>
                </a:lnTo>
                <a:lnTo>
                  <a:pt x="124" y="3050"/>
                </a:lnTo>
                <a:lnTo>
                  <a:pt x="150" y="3148"/>
                </a:lnTo>
                <a:lnTo>
                  <a:pt x="150" y="3148"/>
                </a:lnTo>
                <a:lnTo>
                  <a:pt x="154" y="3156"/>
                </a:lnTo>
                <a:lnTo>
                  <a:pt x="154" y="3156"/>
                </a:lnTo>
                <a:lnTo>
                  <a:pt x="5304" y="3156"/>
                </a:lnTo>
                <a:lnTo>
                  <a:pt x="5304" y="3156"/>
                </a:lnTo>
                <a:lnTo>
                  <a:pt x="5302" y="3130"/>
                </a:lnTo>
                <a:lnTo>
                  <a:pt x="5302" y="313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16499" y="3644152"/>
            <a:ext cx="6899275" cy="1449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 algn="l">
              <a:lnSpc>
                <a:spcPts val="3000"/>
              </a:lnSpc>
              <a:defRPr lang="en-US" sz="2600" b="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6499" y="5236923"/>
            <a:ext cx="6899275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grpSp>
        <p:nvGrpSpPr>
          <p:cNvPr id="22" name="Group 14"/>
          <p:cNvGrpSpPr>
            <a:grpSpLocks noChangeAspect="1"/>
          </p:cNvGrpSpPr>
          <p:nvPr userDrawn="1"/>
        </p:nvGrpSpPr>
        <p:grpSpPr>
          <a:xfrm>
            <a:off x="407988" y="695702"/>
            <a:ext cx="5040000" cy="1123653"/>
            <a:chOff x="728663" y="4465638"/>
            <a:chExt cx="5354637" cy="1193800"/>
          </a:xfrm>
        </p:grpSpPr>
        <p:sp>
          <p:nvSpPr>
            <p:cNvPr id="23" name="Freeform 11"/>
            <p:cNvSpPr>
              <a:spLocks/>
            </p:cNvSpPr>
            <p:nvPr userDrawn="1"/>
          </p:nvSpPr>
          <p:spPr bwMode="auto">
            <a:xfrm>
              <a:off x="5464175" y="4830763"/>
              <a:ext cx="619125" cy="503238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9" y="43"/>
                </a:cxn>
                <a:cxn ang="0">
                  <a:pos x="142" y="0"/>
                </a:cxn>
                <a:cxn ang="0">
                  <a:pos x="50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5"/>
                </a:cxn>
                <a:cxn ang="0">
                  <a:pos x="125" y="107"/>
                </a:cxn>
              </a:cxnLst>
              <a:rect l="0" t="0" r="r" b="b"/>
              <a:pathLst>
                <a:path w="189" h="154">
                  <a:moveTo>
                    <a:pt x="125" y="107"/>
                  </a:moveTo>
                  <a:cubicBezTo>
                    <a:pt x="161" y="107"/>
                    <a:pt x="188" y="78"/>
                    <a:pt x="189" y="43"/>
                  </a:cubicBezTo>
                  <a:cubicBezTo>
                    <a:pt x="186" y="28"/>
                    <a:pt x="181" y="0"/>
                    <a:pt x="142" y="0"/>
                  </a:cubicBezTo>
                  <a:cubicBezTo>
                    <a:pt x="99" y="0"/>
                    <a:pt x="84" y="60"/>
                    <a:pt x="50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5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728663" y="4483100"/>
              <a:ext cx="4352925" cy="1176338"/>
            </a:xfrm>
            <a:custGeom>
              <a:avLst/>
              <a:gdLst/>
              <a:ahLst/>
              <a:cxnLst>
                <a:cxn ang="0">
                  <a:pos x="1281" y="86"/>
                </a:cxn>
                <a:cxn ang="0">
                  <a:pos x="1240" y="210"/>
                </a:cxn>
                <a:cxn ang="0">
                  <a:pos x="1122" y="182"/>
                </a:cxn>
                <a:cxn ang="0">
                  <a:pos x="1121" y="104"/>
                </a:cxn>
                <a:cxn ang="0">
                  <a:pos x="1061" y="211"/>
                </a:cxn>
                <a:cxn ang="0">
                  <a:pos x="1007" y="84"/>
                </a:cxn>
                <a:cxn ang="0">
                  <a:pos x="924" y="86"/>
                </a:cxn>
                <a:cxn ang="0">
                  <a:pos x="830" y="72"/>
                </a:cxn>
                <a:cxn ang="0">
                  <a:pos x="781" y="160"/>
                </a:cxn>
                <a:cxn ang="0">
                  <a:pos x="756" y="81"/>
                </a:cxn>
                <a:cxn ang="0">
                  <a:pos x="666" y="200"/>
                </a:cxn>
                <a:cxn ang="0">
                  <a:pos x="677" y="82"/>
                </a:cxn>
                <a:cxn ang="0">
                  <a:pos x="628" y="196"/>
                </a:cxn>
                <a:cxn ang="0">
                  <a:pos x="585" y="113"/>
                </a:cxn>
                <a:cxn ang="0">
                  <a:pos x="527" y="198"/>
                </a:cxn>
                <a:cxn ang="0">
                  <a:pos x="586" y="102"/>
                </a:cxn>
                <a:cxn ang="0">
                  <a:pos x="493" y="118"/>
                </a:cxn>
                <a:cxn ang="0">
                  <a:pos x="454" y="147"/>
                </a:cxn>
                <a:cxn ang="0">
                  <a:pos x="368" y="111"/>
                </a:cxn>
                <a:cxn ang="0">
                  <a:pos x="335" y="90"/>
                </a:cxn>
                <a:cxn ang="0">
                  <a:pos x="309" y="215"/>
                </a:cxn>
                <a:cxn ang="0">
                  <a:pos x="280" y="124"/>
                </a:cxn>
                <a:cxn ang="0">
                  <a:pos x="224" y="211"/>
                </a:cxn>
                <a:cxn ang="0">
                  <a:pos x="286" y="113"/>
                </a:cxn>
                <a:cxn ang="0">
                  <a:pos x="182" y="145"/>
                </a:cxn>
                <a:cxn ang="0">
                  <a:pos x="39" y="128"/>
                </a:cxn>
                <a:cxn ang="0">
                  <a:pos x="136" y="72"/>
                </a:cxn>
                <a:cxn ang="0">
                  <a:pos x="109" y="0"/>
                </a:cxn>
                <a:cxn ang="0">
                  <a:pos x="90" y="249"/>
                </a:cxn>
                <a:cxn ang="0">
                  <a:pos x="218" y="238"/>
                </a:cxn>
                <a:cxn ang="0">
                  <a:pos x="306" y="238"/>
                </a:cxn>
                <a:cxn ang="0">
                  <a:pos x="377" y="337"/>
                </a:cxn>
                <a:cxn ang="0">
                  <a:pos x="404" y="109"/>
                </a:cxn>
                <a:cxn ang="0">
                  <a:pos x="420" y="182"/>
                </a:cxn>
                <a:cxn ang="0">
                  <a:pos x="392" y="239"/>
                </a:cxn>
                <a:cxn ang="0">
                  <a:pos x="480" y="160"/>
                </a:cxn>
                <a:cxn ang="0">
                  <a:pos x="519" y="227"/>
                </a:cxn>
                <a:cxn ang="0">
                  <a:pos x="564" y="226"/>
                </a:cxn>
                <a:cxn ang="0">
                  <a:pos x="526" y="359"/>
                </a:cxn>
                <a:cxn ang="0">
                  <a:pos x="639" y="214"/>
                </a:cxn>
                <a:cxn ang="0">
                  <a:pos x="758" y="189"/>
                </a:cxn>
                <a:cxn ang="0">
                  <a:pos x="829" y="111"/>
                </a:cxn>
                <a:cxn ang="0">
                  <a:pos x="920" y="128"/>
                </a:cxn>
                <a:cxn ang="0">
                  <a:pos x="1010" y="176"/>
                </a:cxn>
                <a:cxn ang="0">
                  <a:pos x="1097" y="200"/>
                </a:cxn>
                <a:cxn ang="0">
                  <a:pos x="1174" y="112"/>
                </a:cxn>
                <a:cxn ang="0">
                  <a:pos x="1274" y="196"/>
                </a:cxn>
                <a:cxn ang="0">
                  <a:pos x="1328" y="227"/>
                </a:cxn>
                <a:cxn ang="0">
                  <a:pos x="528" y="335"/>
                </a:cxn>
                <a:cxn ang="0">
                  <a:pos x="564" y="248"/>
                </a:cxn>
                <a:cxn ang="0">
                  <a:pos x="674" y="105"/>
                </a:cxn>
                <a:cxn ang="0">
                  <a:pos x="655" y="181"/>
                </a:cxn>
              </a:cxnLst>
              <a:rect l="0" t="0" r="r" b="b"/>
              <a:pathLst>
                <a:path w="1328" h="359">
                  <a:moveTo>
                    <a:pt x="1295" y="118"/>
                  </a:moveTo>
                  <a:cubicBezTo>
                    <a:pt x="1295" y="99"/>
                    <a:pt x="1294" y="86"/>
                    <a:pt x="1281" y="86"/>
                  </a:cubicBezTo>
                  <a:cubicBezTo>
                    <a:pt x="1275" y="86"/>
                    <a:pt x="1273" y="87"/>
                    <a:pt x="1268" y="89"/>
                  </a:cubicBezTo>
                  <a:cubicBezTo>
                    <a:pt x="1272" y="153"/>
                    <a:pt x="1258" y="210"/>
                    <a:pt x="1240" y="210"/>
                  </a:cubicBezTo>
                  <a:cubicBezTo>
                    <a:pt x="1217" y="210"/>
                    <a:pt x="1228" y="72"/>
                    <a:pt x="1179" y="72"/>
                  </a:cubicBezTo>
                  <a:cubicBezTo>
                    <a:pt x="1133" y="72"/>
                    <a:pt x="1127" y="182"/>
                    <a:pt x="1122" y="182"/>
                  </a:cubicBezTo>
                  <a:cubicBezTo>
                    <a:pt x="1118" y="182"/>
                    <a:pt x="1118" y="153"/>
                    <a:pt x="1118" y="131"/>
                  </a:cubicBezTo>
                  <a:cubicBezTo>
                    <a:pt x="1120" y="120"/>
                    <a:pt x="1121" y="111"/>
                    <a:pt x="1121" y="104"/>
                  </a:cubicBezTo>
                  <a:cubicBezTo>
                    <a:pt x="1121" y="93"/>
                    <a:pt x="1117" y="76"/>
                    <a:pt x="1093" y="84"/>
                  </a:cubicBezTo>
                  <a:cubicBezTo>
                    <a:pt x="1094" y="163"/>
                    <a:pt x="1078" y="211"/>
                    <a:pt x="1061" y="211"/>
                  </a:cubicBezTo>
                  <a:cubicBezTo>
                    <a:pt x="1035" y="211"/>
                    <a:pt x="1034" y="139"/>
                    <a:pt x="1034" y="120"/>
                  </a:cubicBezTo>
                  <a:cubicBezTo>
                    <a:pt x="1034" y="101"/>
                    <a:pt x="1036" y="75"/>
                    <a:pt x="1007" y="84"/>
                  </a:cubicBezTo>
                  <a:cubicBezTo>
                    <a:pt x="1003" y="153"/>
                    <a:pt x="985" y="204"/>
                    <a:pt x="974" y="204"/>
                  </a:cubicBezTo>
                  <a:cubicBezTo>
                    <a:pt x="957" y="204"/>
                    <a:pt x="960" y="86"/>
                    <a:pt x="924" y="86"/>
                  </a:cubicBezTo>
                  <a:cubicBezTo>
                    <a:pt x="891" y="86"/>
                    <a:pt x="881" y="198"/>
                    <a:pt x="874" y="198"/>
                  </a:cubicBezTo>
                  <a:cubicBezTo>
                    <a:pt x="861" y="198"/>
                    <a:pt x="877" y="72"/>
                    <a:pt x="830" y="72"/>
                  </a:cubicBezTo>
                  <a:cubicBezTo>
                    <a:pt x="805" y="72"/>
                    <a:pt x="795" y="114"/>
                    <a:pt x="785" y="161"/>
                  </a:cubicBezTo>
                  <a:cubicBezTo>
                    <a:pt x="784" y="170"/>
                    <a:pt x="782" y="171"/>
                    <a:pt x="781" y="160"/>
                  </a:cubicBezTo>
                  <a:cubicBezTo>
                    <a:pt x="781" y="152"/>
                    <a:pt x="781" y="142"/>
                    <a:pt x="781" y="134"/>
                  </a:cubicBezTo>
                  <a:cubicBezTo>
                    <a:pt x="793" y="86"/>
                    <a:pt x="778" y="69"/>
                    <a:pt x="756" y="81"/>
                  </a:cubicBezTo>
                  <a:cubicBezTo>
                    <a:pt x="763" y="169"/>
                    <a:pt x="723" y="212"/>
                    <a:pt x="692" y="212"/>
                  </a:cubicBezTo>
                  <a:cubicBezTo>
                    <a:pt x="681" y="212"/>
                    <a:pt x="672" y="207"/>
                    <a:pt x="666" y="200"/>
                  </a:cubicBezTo>
                  <a:cubicBezTo>
                    <a:pt x="703" y="177"/>
                    <a:pt x="719" y="151"/>
                    <a:pt x="719" y="126"/>
                  </a:cubicBezTo>
                  <a:cubicBezTo>
                    <a:pt x="719" y="98"/>
                    <a:pt x="704" y="82"/>
                    <a:pt x="677" y="82"/>
                  </a:cubicBezTo>
                  <a:cubicBezTo>
                    <a:pt x="640" y="82"/>
                    <a:pt x="620" y="120"/>
                    <a:pt x="620" y="152"/>
                  </a:cubicBezTo>
                  <a:cubicBezTo>
                    <a:pt x="620" y="169"/>
                    <a:pt x="623" y="184"/>
                    <a:pt x="628" y="196"/>
                  </a:cubicBezTo>
                  <a:cubicBezTo>
                    <a:pt x="616" y="202"/>
                    <a:pt x="604" y="207"/>
                    <a:pt x="593" y="212"/>
                  </a:cubicBezTo>
                  <a:cubicBezTo>
                    <a:pt x="592" y="179"/>
                    <a:pt x="588" y="145"/>
                    <a:pt x="585" y="113"/>
                  </a:cubicBezTo>
                  <a:cubicBezTo>
                    <a:pt x="566" y="107"/>
                    <a:pt x="560" y="117"/>
                    <a:pt x="559" y="134"/>
                  </a:cubicBezTo>
                  <a:cubicBezTo>
                    <a:pt x="555" y="174"/>
                    <a:pt x="540" y="198"/>
                    <a:pt x="527" y="198"/>
                  </a:cubicBezTo>
                  <a:cubicBezTo>
                    <a:pt x="518" y="198"/>
                    <a:pt x="512" y="186"/>
                    <a:pt x="511" y="174"/>
                  </a:cubicBezTo>
                  <a:cubicBezTo>
                    <a:pt x="507" y="110"/>
                    <a:pt x="559" y="92"/>
                    <a:pt x="586" y="102"/>
                  </a:cubicBezTo>
                  <a:cubicBezTo>
                    <a:pt x="592" y="88"/>
                    <a:pt x="585" y="77"/>
                    <a:pt x="561" y="77"/>
                  </a:cubicBezTo>
                  <a:cubicBezTo>
                    <a:pt x="531" y="77"/>
                    <a:pt x="509" y="95"/>
                    <a:pt x="493" y="118"/>
                  </a:cubicBezTo>
                  <a:cubicBezTo>
                    <a:pt x="482" y="134"/>
                    <a:pt x="470" y="145"/>
                    <a:pt x="453" y="158"/>
                  </a:cubicBezTo>
                  <a:cubicBezTo>
                    <a:pt x="454" y="154"/>
                    <a:pt x="454" y="150"/>
                    <a:pt x="454" y="147"/>
                  </a:cubicBezTo>
                  <a:cubicBezTo>
                    <a:pt x="454" y="102"/>
                    <a:pt x="430" y="82"/>
                    <a:pt x="406" y="82"/>
                  </a:cubicBezTo>
                  <a:cubicBezTo>
                    <a:pt x="387" y="82"/>
                    <a:pt x="375" y="94"/>
                    <a:pt x="368" y="111"/>
                  </a:cubicBezTo>
                  <a:cubicBezTo>
                    <a:pt x="366" y="94"/>
                    <a:pt x="363" y="86"/>
                    <a:pt x="353" y="86"/>
                  </a:cubicBezTo>
                  <a:cubicBezTo>
                    <a:pt x="348" y="86"/>
                    <a:pt x="342" y="87"/>
                    <a:pt x="335" y="90"/>
                  </a:cubicBezTo>
                  <a:cubicBezTo>
                    <a:pt x="338" y="100"/>
                    <a:pt x="340" y="122"/>
                    <a:pt x="340" y="137"/>
                  </a:cubicBezTo>
                  <a:cubicBezTo>
                    <a:pt x="340" y="191"/>
                    <a:pt x="324" y="215"/>
                    <a:pt x="309" y="215"/>
                  </a:cubicBezTo>
                  <a:cubicBezTo>
                    <a:pt x="292" y="215"/>
                    <a:pt x="290" y="151"/>
                    <a:pt x="288" y="126"/>
                  </a:cubicBezTo>
                  <a:cubicBezTo>
                    <a:pt x="286" y="125"/>
                    <a:pt x="284" y="124"/>
                    <a:pt x="280" y="124"/>
                  </a:cubicBezTo>
                  <a:cubicBezTo>
                    <a:pt x="264" y="124"/>
                    <a:pt x="262" y="145"/>
                    <a:pt x="259" y="164"/>
                  </a:cubicBezTo>
                  <a:cubicBezTo>
                    <a:pt x="254" y="185"/>
                    <a:pt x="242" y="211"/>
                    <a:pt x="224" y="211"/>
                  </a:cubicBezTo>
                  <a:cubicBezTo>
                    <a:pt x="214" y="211"/>
                    <a:pt x="207" y="201"/>
                    <a:pt x="206" y="182"/>
                  </a:cubicBezTo>
                  <a:cubicBezTo>
                    <a:pt x="204" y="144"/>
                    <a:pt x="236" y="99"/>
                    <a:pt x="286" y="113"/>
                  </a:cubicBezTo>
                  <a:cubicBezTo>
                    <a:pt x="292" y="98"/>
                    <a:pt x="282" y="86"/>
                    <a:pt x="261" y="86"/>
                  </a:cubicBezTo>
                  <a:cubicBezTo>
                    <a:pt x="225" y="86"/>
                    <a:pt x="195" y="113"/>
                    <a:pt x="182" y="145"/>
                  </a:cubicBezTo>
                  <a:cubicBezTo>
                    <a:pt x="169" y="175"/>
                    <a:pt x="145" y="218"/>
                    <a:pt x="98" y="218"/>
                  </a:cubicBezTo>
                  <a:cubicBezTo>
                    <a:pt x="65" y="218"/>
                    <a:pt x="39" y="189"/>
                    <a:pt x="39" y="128"/>
                  </a:cubicBezTo>
                  <a:cubicBezTo>
                    <a:pt x="39" y="75"/>
                    <a:pt x="72" y="25"/>
                    <a:pt x="108" y="25"/>
                  </a:cubicBezTo>
                  <a:cubicBezTo>
                    <a:pt x="132" y="25"/>
                    <a:pt x="138" y="50"/>
                    <a:pt x="136" y="72"/>
                  </a:cubicBezTo>
                  <a:cubicBezTo>
                    <a:pt x="149" y="83"/>
                    <a:pt x="170" y="73"/>
                    <a:pt x="170" y="47"/>
                  </a:cubicBezTo>
                  <a:cubicBezTo>
                    <a:pt x="170" y="30"/>
                    <a:pt x="156" y="0"/>
                    <a:pt x="109" y="0"/>
                  </a:cubicBezTo>
                  <a:cubicBezTo>
                    <a:pt x="51" y="0"/>
                    <a:pt x="0" y="57"/>
                    <a:pt x="0" y="132"/>
                  </a:cubicBezTo>
                  <a:cubicBezTo>
                    <a:pt x="0" y="206"/>
                    <a:pt x="38" y="249"/>
                    <a:pt x="90" y="249"/>
                  </a:cubicBezTo>
                  <a:cubicBezTo>
                    <a:pt x="123" y="249"/>
                    <a:pt x="154" y="230"/>
                    <a:pt x="176" y="195"/>
                  </a:cubicBezTo>
                  <a:cubicBezTo>
                    <a:pt x="181" y="226"/>
                    <a:pt x="202" y="238"/>
                    <a:pt x="218" y="238"/>
                  </a:cubicBezTo>
                  <a:cubicBezTo>
                    <a:pt x="243" y="238"/>
                    <a:pt x="260" y="222"/>
                    <a:pt x="269" y="200"/>
                  </a:cubicBezTo>
                  <a:cubicBezTo>
                    <a:pt x="274" y="222"/>
                    <a:pt x="286" y="238"/>
                    <a:pt x="306" y="238"/>
                  </a:cubicBezTo>
                  <a:cubicBezTo>
                    <a:pt x="320" y="238"/>
                    <a:pt x="330" y="231"/>
                    <a:pt x="339" y="220"/>
                  </a:cubicBezTo>
                  <a:cubicBezTo>
                    <a:pt x="335" y="297"/>
                    <a:pt x="331" y="346"/>
                    <a:pt x="377" y="337"/>
                  </a:cubicBezTo>
                  <a:cubicBezTo>
                    <a:pt x="370" y="315"/>
                    <a:pt x="368" y="275"/>
                    <a:pt x="368" y="239"/>
                  </a:cubicBezTo>
                  <a:cubicBezTo>
                    <a:pt x="368" y="141"/>
                    <a:pt x="384" y="109"/>
                    <a:pt x="404" y="109"/>
                  </a:cubicBezTo>
                  <a:cubicBezTo>
                    <a:pt x="419" y="109"/>
                    <a:pt x="423" y="128"/>
                    <a:pt x="423" y="148"/>
                  </a:cubicBezTo>
                  <a:cubicBezTo>
                    <a:pt x="423" y="158"/>
                    <a:pt x="422" y="170"/>
                    <a:pt x="420" y="182"/>
                  </a:cubicBezTo>
                  <a:cubicBezTo>
                    <a:pt x="395" y="197"/>
                    <a:pt x="375" y="210"/>
                    <a:pt x="375" y="225"/>
                  </a:cubicBezTo>
                  <a:cubicBezTo>
                    <a:pt x="375" y="238"/>
                    <a:pt x="384" y="239"/>
                    <a:pt x="392" y="239"/>
                  </a:cubicBezTo>
                  <a:cubicBezTo>
                    <a:pt x="411" y="239"/>
                    <a:pt x="434" y="220"/>
                    <a:pt x="447" y="185"/>
                  </a:cubicBezTo>
                  <a:cubicBezTo>
                    <a:pt x="458" y="178"/>
                    <a:pt x="469" y="170"/>
                    <a:pt x="480" y="160"/>
                  </a:cubicBezTo>
                  <a:cubicBezTo>
                    <a:pt x="480" y="164"/>
                    <a:pt x="479" y="167"/>
                    <a:pt x="479" y="171"/>
                  </a:cubicBezTo>
                  <a:cubicBezTo>
                    <a:pt x="479" y="206"/>
                    <a:pt x="495" y="227"/>
                    <a:pt x="519" y="227"/>
                  </a:cubicBezTo>
                  <a:cubicBezTo>
                    <a:pt x="538" y="227"/>
                    <a:pt x="553" y="214"/>
                    <a:pt x="563" y="193"/>
                  </a:cubicBezTo>
                  <a:cubicBezTo>
                    <a:pt x="564" y="205"/>
                    <a:pt x="564" y="216"/>
                    <a:pt x="564" y="226"/>
                  </a:cubicBezTo>
                  <a:cubicBezTo>
                    <a:pt x="525" y="244"/>
                    <a:pt x="482" y="262"/>
                    <a:pt x="482" y="313"/>
                  </a:cubicBezTo>
                  <a:cubicBezTo>
                    <a:pt x="482" y="339"/>
                    <a:pt x="501" y="359"/>
                    <a:pt x="526" y="359"/>
                  </a:cubicBezTo>
                  <a:cubicBezTo>
                    <a:pt x="580" y="359"/>
                    <a:pt x="593" y="302"/>
                    <a:pt x="593" y="235"/>
                  </a:cubicBezTo>
                  <a:cubicBezTo>
                    <a:pt x="611" y="227"/>
                    <a:pt x="624" y="222"/>
                    <a:pt x="639" y="214"/>
                  </a:cubicBezTo>
                  <a:cubicBezTo>
                    <a:pt x="652" y="230"/>
                    <a:pt x="670" y="238"/>
                    <a:pt x="686" y="238"/>
                  </a:cubicBezTo>
                  <a:cubicBezTo>
                    <a:pt x="717" y="238"/>
                    <a:pt x="740" y="222"/>
                    <a:pt x="758" y="189"/>
                  </a:cubicBezTo>
                  <a:cubicBezTo>
                    <a:pt x="762" y="214"/>
                    <a:pt x="768" y="238"/>
                    <a:pt x="781" y="238"/>
                  </a:cubicBezTo>
                  <a:cubicBezTo>
                    <a:pt x="806" y="238"/>
                    <a:pt x="811" y="111"/>
                    <a:pt x="829" y="111"/>
                  </a:cubicBezTo>
                  <a:cubicBezTo>
                    <a:pt x="843" y="111"/>
                    <a:pt x="831" y="249"/>
                    <a:pt x="868" y="249"/>
                  </a:cubicBezTo>
                  <a:cubicBezTo>
                    <a:pt x="899" y="249"/>
                    <a:pt x="905" y="128"/>
                    <a:pt x="920" y="128"/>
                  </a:cubicBezTo>
                  <a:cubicBezTo>
                    <a:pt x="931" y="128"/>
                    <a:pt x="932" y="238"/>
                    <a:pt x="966" y="238"/>
                  </a:cubicBezTo>
                  <a:cubicBezTo>
                    <a:pt x="983" y="238"/>
                    <a:pt x="1001" y="218"/>
                    <a:pt x="1010" y="176"/>
                  </a:cubicBezTo>
                  <a:cubicBezTo>
                    <a:pt x="1014" y="204"/>
                    <a:pt x="1028" y="238"/>
                    <a:pt x="1056" y="238"/>
                  </a:cubicBezTo>
                  <a:cubicBezTo>
                    <a:pt x="1072" y="238"/>
                    <a:pt x="1086" y="222"/>
                    <a:pt x="1097" y="200"/>
                  </a:cubicBezTo>
                  <a:cubicBezTo>
                    <a:pt x="1100" y="223"/>
                    <a:pt x="1106" y="238"/>
                    <a:pt x="1118" y="238"/>
                  </a:cubicBezTo>
                  <a:cubicBezTo>
                    <a:pt x="1150" y="238"/>
                    <a:pt x="1149" y="112"/>
                    <a:pt x="1174" y="112"/>
                  </a:cubicBezTo>
                  <a:cubicBezTo>
                    <a:pt x="1194" y="112"/>
                    <a:pt x="1188" y="238"/>
                    <a:pt x="1235" y="238"/>
                  </a:cubicBezTo>
                  <a:cubicBezTo>
                    <a:pt x="1257" y="238"/>
                    <a:pt x="1268" y="220"/>
                    <a:pt x="1274" y="196"/>
                  </a:cubicBezTo>
                  <a:cubicBezTo>
                    <a:pt x="1283" y="231"/>
                    <a:pt x="1297" y="238"/>
                    <a:pt x="1308" y="238"/>
                  </a:cubicBezTo>
                  <a:cubicBezTo>
                    <a:pt x="1315" y="238"/>
                    <a:pt x="1321" y="236"/>
                    <a:pt x="1328" y="227"/>
                  </a:cubicBezTo>
                  <a:cubicBezTo>
                    <a:pt x="1292" y="212"/>
                    <a:pt x="1295" y="155"/>
                    <a:pt x="1295" y="118"/>
                  </a:cubicBezTo>
                  <a:moveTo>
                    <a:pt x="528" y="335"/>
                  </a:moveTo>
                  <a:cubicBezTo>
                    <a:pt x="517" y="335"/>
                    <a:pt x="511" y="325"/>
                    <a:pt x="511" y="313"/>
                  </a:cubicBezTo>
                  <a:cubicBezTo>
                    <a:pt x="511" y="280"/>
                    <a:pt x="535" y="263"/>
                    <a:pt x="564" y="248"/>
                  </a:cubicBezTo>
                  <a:cubicBezTo>
                    <a:pt x="563" y="319"/>
                    <a:pt x="546" y="335"/>
                    <a:pt x="528" y="335"/>
                  </a:cubicBezTo>
                  <a:moveTo>
                    <a:pt x="674" y="105"/>
                  </a:moveTo>
                  <a:cubicBezTo>
                    <a:pt x="685" y="105"/>
                    <a:pt x="692" y="115"/>
                    <a:pt x="691" y="129"/>
                  </a:cubicBezTo>
                  <a:cubicBezTo>
                    <a:pt x="689" y="146"/>
                    <a:pt x="677" y="166"/>
                    <a:pt x="655" y="181"/>
                  </a:cubicBezTo>
                  <a:cubicBezTo>
                    <a:pt x="644" y="149"/>
                    <a:pt x="653" y="105"/>
                    <a:pt x="674" y="105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auto">
            <a:xfrm>
              <a:off x="4013200" y="4541838"/>
              <a:ext cx="120650" cy="127000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37" y="19"/>
                </a:cxn>
                <a:cxn ang="0">
                  <a:pos x="19" y="0"/>
                </a:cxn>
                <a:cxn ang="0">
                  <a:pos x="0" y="20"/>
                </a:cxn>
                <a:cxn ang="0">
                  <a:pos x="19" y="39"/>
                </a:cxn>
              </a:cxnLst>
              <a:rect l="0" t="0" r="r" b="b"/>
              <a:pathLst>
                <a:path w="37" h="39">
                  <a:moveTo>
                    <a:pt x="19" y="39"/>
                  </a:moveTo>
                  <a:cubicBezTo>
                    <a:pt x="30" y="38"/>
                    <a:pt x="37" y="29"/>
                    <a:pt x="37" y="19"/>
                  </a:cubicBezTo>
                  <a:cubicBezTo>
                    <a:pt x="37" y="8"/>
                    <a:pt x="30" y="0"/>
                    <a:pt x="19" y="0"/>
                  </a:cubicBezTo>
                  <a:cubicBezTo>
                    <a:pt x="9" y="1"/>
                    <a:pt x="0" y="9"/>
                    <a:pt x="0" y="20"/>
                  </a:cubicBezTo>
                  <a:cubicBezTo>
                    <a:pt x="0" y="31"/>
                    <a:pt x="9" y="39"/>
                    <a:pt x="19" y="39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auto">
            <a:xfrm>
              <a:off x="4870450" y="4564063"/>
              <a:ext cx="112713" cy="125413"/>
            </a:xfrm>
            <a:custGeom>
              <a:avLst/>
              <a:gdLst/>
              <a:ahLst/>
              <a:cxnLst>
                <a:cxn ang="0">
                  <a:pos x="17" y="37"/>
                </a:cxn>
                <a:cxn ang="0">
                  <a:pos x="34" y="18"/>
                </a:cxn>
                <a:cxn ang="0">
                  <a:pos x="17" y="0"/>
                </a:cxn>
                <a:cxn ang="0">
                  <a:pos x="0" y="19"/>
                </a:cxn>
                <a:cxn ang="0">
                  <a:pos x="17" y="37"/>
                </a:cxn>
              </a:cxnLst>
              <a:rect l="0" t="0" r="r" b="b"/>
              <a:pathLst>
                <a:path w="34" h="38">
                  <a:moveTo>
                    <a:pt x="17" y="37"/>
                  </a:moveTo>
                  <a:cubicBezTo>
                    <a:pt x="26" y="37"/>
                    <a:pt x="34" y="28"/>
                    <a:pt x="34" y="18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cubicBezTo>
                    <a:pt x="0" y="30"/>
                    <a:pt x="7" y="38"/>
                    <a:pt x="17" y="37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auto">
            <a:xfrm>
              <a:off x="5143500" y="4465638"/>
              <a:ext cx="939800" cy="796925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0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8" y="210"/>
                </a:cxn>
                <a:cxn ang="0">
                  <a:pos x="240" y="111"/>
                </a:cxn>
                <a:cxn ang="0">
                  <a:pos x="287" y="154"/>
                </a:cxn>
                <a:cxn ang="0">
                  <a:pos x="286" y="152"/>
                </a:cxn>
              </a:cxnLst>
              <a:rect l="0" t="0" r="r" b="b"/>
              <a:pathLst>
                <a:path w="287" h="243">
                  <a:moveTo>
                    <a:pt x="286" y="152"/>
                  </a:moveTo>
                  <a:cubicBezTo>
                    <a:pt x="286" y="111"/>
                    <a:pt x="267" y="77"/>
                    <a:pt x="237" y="50"/>
                  </a:cubicBezTo>
                  <a:cubicBezTo>
                    <a:pt x="215" y="30"/>
                    <a:pt x="188" y="14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3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7" y="222"/>
                    <a:pt x="148" y="210"/>
                  </a:cubicBezTo>
                  <a:cubicBezTo>
                    <a:pt x="182" y="171"/>
                    <a:pt x="197" y="111"/>
                    <a:pt x="240" y="111"/>
                  </a:cubicBezTo>
                  <a:cubicBezTo>
                    <a:pt x="279" y="111"/>
                    <a:pt x="284" y="139"/>
                    <a:pt x="287" y="154"/>
                  </a:cubicBezTo>
                  <a:cubicBezTo>
                    <a:pt x="287" y="154"/>
                    <a:pt x="287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6205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257">
          <p15:clr>
            <a:srgbClr val="FBAE40"/>
          </p15:clr>
        </p15:guide>
        <p15:guide id="3" pos="3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0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5353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61176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=""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175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50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50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3358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3358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=""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4125" y="2205319"/>
            <a:ext cx="3537827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=""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4125" y="1420989"/>
            <a:ext cx="3537827" cy="74398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1" kern="1200" dirty="0">
                <a:solidFill>
                  <a:srgbClr val="12ABDB"/>
                </a:soli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26613998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umbering, 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0"/>
            <a:ext cx="919998" cy="428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1510" name="Freeform 6"/>
          <p:cNvSpPr>
            <a:spLocks/>
          </p:cNvSpPr>
          <p:nvPr userDrawn="1"/>
        </p:nvSpPr>
        <p:spPr bwMode="auto">
          <a:xfrm>
            <a:off x="0" y="0"/>
            <a:ext cx="919998" cy="1146174"/>
          </a:xfrm>
          <a:custGeom>
            <a:avLst/>
            <a:gdLst/>
            <a:ahLst/>
            <a:cxnLst>
              <a:cxn ang="0">
                <a:pos x="1681" y="25"/>
              </a:cxn>
              <a:cxn ang="0">
                <a:pos x="1655" y="0"/>
              </a:cxn>
              <a:cxn ang="0">
                <a:pos x="22" y="0"/>
              </a:cxn>
              <a:cxn ang="0">
                <a:pos x="0" y="23"/>
              </a:cxn>
              <a:cxn ang="0">
                <a:pos x="0" y="2095"/>
              </a:cxn>
              <a:cxn ang="0">
                <a:pos x="336" y="2085"/>
              </a:cxn>
              <a:cxn ang="0">
                <a:pos x="682" y="2056"/>
              </a:cxn>
              <a:cxn ang="0">
                <a:pos x="897" y="2032"/>
              </a:cxn>
              <a:cxn ang="0">
                <a:pos x="1082" y="2005"/>
              </a:cxn>
              <a:cxn ang="0">
                <a:pos x="1332" y="1960"/>
              </a:cxn>
              <a:cxn ang="0">
                <a:pos x="1567" y="1911"/>
              </a:cxn>
              <a:cxn ang="0">
                <a:pos x="1680" y="1883"/>
              </a:cxn>
              <a:cxn ang="0">
                <a:pos x="1681" y="25"/>
              </a:cxn>
            </a:cxnLst>
            <a:rect l="0" t="0" r="r" b="b"/>
            <a:pathLst>
              <a:path w="1681" h="2095">
                <a:moveTo>
                  <a:pt x="1681" y="25"/>
                </a:moveTo>
                <a:cubicBezTo>
                  <a:pt x="1681" y="3"/>
                  <a:pt x="1675" y="0"/>
                  <a:pt x="1655" y="0"/>
                </a:cubicBezTo>
                <a:cubicBezTo>
                  <a:pt x="1111" y="1"/>
                  <a:pt x="567" y="1"/>
                  <a:pt x="22" y="0"/>
                </a:cubicBezTo>
                <a:cubicBezTo>
                  <a:pt x="5" y="0"/>
                  <a:pt x="0" y="3"/>
                  <a:pt x="0" y="23"/>
                </a:cubicBezTo>
                <a:cubicBezTo>
                  <a:pt x="0" y="713"/>
                  <a:pt x="0" y="1404"/>
                  <a:pt x="0" y="2095"/>
                </a:cubicBezTo>
                <a:cubicBezTo>
                  <a:pt x="112" y="2091"/>
                  <a:pt x="224" y="2088"/>
                  <a:pt x="336" y="2085"/>
                </a:cubicBezTo>
                <a:cubicBezTo>
                  <a:pt x="452" y="2081"/>
                  <a:pt x="567" y="2068"/>
                  <a:pt x="682" y="2056"/>
                </a:cubicBezTo>
                <a:cubicBezTo>
                  <a:pt x="754" y="2049"/>
                  <a:pt x="826" y="2045"/>
                  <a:pt x="897" y="2032"/>
                </a:cubicBezTo>
                <a:cubicBezTo>
                  <a:pt x="958" y="2020"/>
                  <a:pt x="1021" y="2018"/>
                  <a:pt x="1082" y="2005"/>
                </a:cubicBezTo>
                <a:cubicBezTo>
                  <a:pt x="1165" y="1989"/>
                  <a:pt x="1249" y="1977"/>
                  <a:pt x="1332" y="1960"/>
                </a:cubicBezTo>
                <a:cubicBezTo>
                  <a:pt x="1410" y="1945"/>
                  <a:pt x="1489" y="1928"/>
                  <a:pt x="1567" y="1911"/>
                </a:cubicBezTo>
                <a:cubicBezTo>
                  <a:pt x="1605" y="1904"/>
                  <a:pt x="1643" y="1895"/>
                  <a:pt x="1680" y="1883"/>
                </a:cubicBezTo>
                <a:cubicBezTo>
                  <a:pt x="1680" y="1263"/>
                  <a:pt x="1680" y="644"/>
                  <a:pt x="1681" y="2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872" y="0"/>
            <a:ext cx="10377711" cy="1104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7" y="1815351"/>
            <a:ext cx="11700000" cy="4467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974872" y="1148607"/>
            <a:ext cx="10940903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8742"/>
            <a:ext cx="914400" cy="914400"/>
          </a:xfrm>
        </p:spPr>
        <p:txBody>
          <a:bodyPr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40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262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45080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1460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Single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F5F5AEA1-6A77-4676-B8B3-EF658F5F8430}"/>
              </a:ext>
            </a:extLst>
          </p:cNvPr>
          <p:cNvSpPr/>
          <p:nvPr userDrawn="1"/>
        </p:nvSpPr>
        <p:spPr>
          <a:xfrm flipV="1">
            <a:off x="1" y="0"/>
            <a:ext cx="5204012" cy="3119718"/>
          </a:xfrm>
          <a:custGeom>
            <a:avLst/>
            <a:gdLst>
              <a:gd name="connsiteX0" fmla="*/ 2836724 w 6262141"/>
              <a:gd name="connsiteY0" fmla="*/ 775 h 4159686"/>
              <a:gd name="connsiteX1" fmla="*/ 3822188 w 6262141"/>
              <a:gd name="connsiteY1" fmla="*/ 22965 h 4159686"/>
              <a:gd name="connsiteX2" fmla="*/ 5982756 w 6262141"/>
              <a:gd name="connsiteY2" fmla="*/ 3706589 h 4159686"/>
              <a:gd name="connsiteX3" fmla="*/ 6262141 w 6262141"/>
              <a:gd name="connsiteY3" fmla="*/ 4159686 h 4159686"/>
              <a:gd name="connsiteX4" fmla="*/ 0 w 6262141"/>
              <a:gd name="connsiteY4" fmla="*/ 4159686 h 4159686"/>
              <a:gd name="connsiteX5" fmla="*/ 0 w 6262141"/>
              <a:gd name="connsiteY5" fmla="*/ 3700458 h 4159686"/>
              <a:gd name="connsiteX6" fmla="*/ 0 w 6262141"/>
              <a:gd name="connsiteY6" fmla="*/ 3329154 h 4159686"/>
              <a:gd name="connsiteX7" fmla="*/ 0 w 6262141"/>
              <a:gd name="connsiteY7" fmla="*/ 2944589 h 4159686"/>
              <a:gd name="connsiteX8" fmla="*/ 0 w 6262141"/>
              <a:gd name="connsiteY8" fmla="*/ 2546533 h 4159686"/>
              <a:gd name="connsiteX9" fmla="*/ 0 w 6262141"/>
              <a:gd name="connsiteY9" fmla="*/ 2134752 h 4159686"/>
              <a:gd name="connsiteX10" fmla="*/ 0 w 6262141"/>
              <a:gd name="connsiteY10" fmla="*/ 1709014 h 4159686"/>
              <a:gd name="connsiteX11" fmla="*/ 0 w 6262141"/>
              <a:gd name="connsiteY11" fmla="*/ 1269085 h 4159686"/>
              <a:gd name="connsiteX12" fmla="*/ 0 w 6262141"/>
              <a:gd name="connsiteY12" fmla="*/ 814735 h 4159686"/>
              <a:gd name="connsiteX13" fmla="*/ 0 w 6262141"/>
              <a:gd name="connsiteY13" fmla="*/ 345728 h 4159686"/>
              <a:gd name="connsiteX14" fmla="*/ 2836724 w 6262141"/>
              <a:gd name="connsiteY14" fmla="*/ 775 h 4159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62141" h="4159686">
                <a:moveTo>
                  <a:pt x="2836724" y="775"/>
                </a:moveTo>
                <a:cubicBezTo>
                  <a:pt x="3163345" y="-2587"/>
                  <a:pt x="3492318" y="5034"/>
                  <a:pt x="3822188" y="22965"/>
                </a:cubicBezTo>
                <a:cubicBezTo>
                  <a:pt x="4104550" y="1058496"/>
                  <a:pt x="5095168" y="2317803"/>
                  <a:pt x="5982756" y="3706589"/>
                </a:cubicBezTo>
                <a:lnTo>
                  <a:pt x="6262141" y="4159686"/>
                </a:lnTo>
                <a:lnTo>
                  <a:pt x="0" y="4159686"/>
                </a:lnTo>
                <a:lnTo>
                  <a:pt x="0" y="3700458"/>
                </a:lnTo>
                <a:lnTo>
                  <a:pt x="0" y="3329154"/>
                </a:lnTo>
                <a:lnTo>
                  <a:pt x="0" y="2944589"/>
                </a:lnTo>
                <a:lnTo>
                  <a:pt x="0" y="2546533"/>
                </a:lnTo>
                <a:lnTo>
                  <a:pt x="0" y="2134752"/>
                </a:lnTo>
                <a:lnTo>
                  <a:pt x="0" y="1709014"/>
                </a:lnTo>
                <a:lnTo>
                  <a:pt x="0" y="1269085"/>
                </a:lnTo>
                <a:lnTo>
                  <a:pt x="0" y="814735"/>
                </a:lnTo>
                <a:lnTo>
                  <a:pt x="0" y="345728"/>
                </a:lnTo>
                <a:cubicBezTo>
                  <a:pt x="898178" y="119794"/>
                  <a:pt x="1856863" y="10862"/>
                  <a:pt x="2836724" y="775"/>
                </a:cubicBezTo>
                <a:close/>
              </a:path>
            </a:pathLst>
          </a:custGeom>
          <a:solidFill>
            <a:srgbClr val="12A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7E551D69-F21D-4601-B4BD-97ECB52F39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3129" y="5278426"/>
            <a:ext cx="3296647" cy="33198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education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C359575-5CC3-4B2F-91E7-19D6A150B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3129" y="3916350"/>
            <a:ext cx="3296647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2000" b="1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53745724-67BB-4475-9660-FEEE122686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081" y="4344097"/>
            <a:ext cx="3304144" cy="89484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C78431F2-3F85-4748-A6BC-A08250A6D3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2081" y="5601397"/>
            <a:ext cx="3297695" cy="71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3" name="Oval 20">
            <a:extLst>
              <a:ext uri="{FF2B5EF4-FFF2-40B4-BE49-F238E27FC236}">
                <a16:creationId xmlns="" xmlns:a16="http://schemas.microsoft.com/office/drawing/2014/main" id="{1EFB3510-D39A-47CF-8191-109DDF9E53D5}"/>
              </a:ext>
            </a:extLst>
          </p:cNvPr>
          <p:cNvSpPr/>
          <p:nvPr userDrawn="1"/>
        </p:nvSpPr>
        <p:spPr>
          <a:xfrm>
            <a:off x="1381192" y="1147034"/>
            <a:ext cx="2609222" cy="2465696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95E6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472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942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571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926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81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365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31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32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9B5B8E-8EE5-49EC-86EF-7B84FE031006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79F7DB-2546-4319-BC3B-AB1322EC30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39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99255B-7DF6-4A62-A3FB-12468D4D70F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8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8111FC4-84B9-418A-B744-76C859B08637}" type="slidenum">
              <a:rPr lang="en-US" smtClean="0">
                <a:solidFill>
                  <a:srgbClr val="5FCBEF"/>
                </a:solidFill>
              </a:rPr>
              <a:pPr/>
              <a:t>‹#›</a:t>
            </a:fld>
            <a:endParaRPr 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821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410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1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7" name="Retângulo 43">
            <a:extLst>
              <a:ext uri="{FF2B5EF4-FFF2-40B4-BE49-F238E27FC236}">
                <a16:creationId xmlns=""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51670" y="6650661"/>
            <a:ext cx="176330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9017223" y="6650661"/>
            <a:ext cx="2664297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© Capgemini 2018. All rights reserved  </a:t>
            </a:r>
            <a:r>
              <a:rPr lang="en-US" dirty="0">
                <a:solidFill>
                  <a:srgbClr val="12ABDB"/>
                </a:solidFill>
              </a:rPr>
              <a:t>|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824319D-02CC-441E-87B5-E9D15DE8CA35}"/>
              </a:ext>
            </a:extLst>
          </p:cNvPr>
          <p:cNvSpPr txBox="1">
            <a:spLocks/>
          </p:cNvSpPr>
          <p:nvPr userDrawn="1"/>
        </p:nvSpPr>
        <p:spPr>
          <a:xfrm>
            <a:off x="227348" y="6650661"/>
            <a:ext cx="4716524" cy="123111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FFFFFF">
                    <a:lumMod val="65000"/>
                  </a:srgbClr>
                </a:solidFill>
              </a:rPr>
              <a:t>Presentation Title | Author | Date</a:t>
            </a:r>
          </a:p>
        </p:txBody>
      </p:sp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=""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=""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=""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12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elenium</a:t>
            </a:r>
            <a:r>
              <a:rPr lang="en-US" dirty="0" smtClean="0">
                <a:latin typeface="Arial Rounded MT Bold" panose="020F0704030504030204" pitchFamily="34" charset="0"/>
              </a:rPr>
              <a:t/>
            </a:r>
            <a:br>
              <a:rPr lang="en-US" dirty="0" smtClean="0">
                <a:latin typeface="Arial Rounded MT Bold" panose="020F0704030504030204" pitchFamily="34" charset="0"/>
              </a:rPr>
            </a:b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21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GB" sz="3200" dirty="0" smtClean="0"/>
              <a:t>Web Driver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mporting packages-</a:t>
            </a: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org.openqa.selenium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org.openqa.selenium.chrome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WebDriver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 driver=new 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ChromeDriver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</a:t>
            </a: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// will launch default Chrome profile will be launch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d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river.get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“”)</a:t>
            </a: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// launch a browser session and directs it to specified UR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Terminating browser session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driver.close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12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Locating GUI Elements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By.className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By.cssSelector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By.id</a:t>
            </a: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By.linkText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By.name</a:t>
            </a: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By.partialLinkText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By.tagname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By.xpath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absolute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, relative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Note: 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cssSelector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 does not support “contains” feature</a:t>
            </a: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Click() method is used to click on any 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webelement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87400" lvl="2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Get(),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getTitle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(),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getPageSourceCode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(),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getCurrentUrl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(),</a:t>
            </a:r>
            <a:r>
              <a:rPr lang="en-US" sz="2000" dirty="0" err="1" smtClean="0">
                <a:solidFill>
                  <a:schemeClr val="accent1">
                    <a:lumMod val="75000"/>
                  </a:schemeClr>
                </a:solidFill>
              </a:rPr>
              <a:t>getText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()</a:t>
            </a:r>
          </a:p>
          <a:p>
            <a:pPr lvl="2" indent="0">
              <a:buNone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endParaRPr lang="en-US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81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Commands in Selenium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Navigating command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navigate().to()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navigate().refresh()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navigate().back()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navigate().forward()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Closing and quitting Driver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close()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quit()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	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929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Commands in Selenium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Switching Between Frames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driver.switchTo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.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frame(String name)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driver.switchTo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().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frame(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int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 index)</a:t>
            </a:r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driver.switchTo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().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frame(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WebElement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Switching between pop-up windows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switchTo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.alert().dismiss()/accept()/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getText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- you can access alert box, using </a:t>
            </a: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getText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 you can 	fetch alert box message 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		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250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Waits in Selenium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Implicit </a:t>
            </a:r>
            <a:r>
              <a:rPr lang="en-US" sz="2400" dirty="0" smtClean="0">
                <a:solidFill>
                  <a:srgbClr val="002060"/>
                </a:solidFill>
              </a:rPr>
              <a:t>wait-</a:t>
            </a:r>
            <a:r>
              <a:rPr lang="en-US" sz="2400" dirty="0">
                <a:solidFill>
                  <a:srgbClr val="002060"/>
                </a:solidFill>
              </a:rPr>
              <a:t>used to set the default waiting time throughout the </a:t>
            </a:r>
            <a:r>
              <a:rPr lang="en-US" sz="2400" dirty="0" smtClean="0">
                <a:solidFill>
                  <a:srgbClr val="002060"/>
                </a:solidFill>
              </a:rPr>
              <a:t>program</a:t>
            </a:r>
          </a:p>
          <a:p>
            <a:r>
              <a:rPr lang="en-US" sz="2400" dirty="0">
                <a:solidFill>
                  <a:srgbClr val="002060"/>
                </a:solidFill>
              </a:rPr>
              <a:t> </a:t>
            </a:r>
            <a:r>
              <a:rPr lang="en-US" sz="2400" dirty="0" smtClean="0">
                <a:solidFill>
                  <a:srgbClr val="002060"/>
                </a:solidFill>
              </a:rPr>
              <a:t>   </a:t>
            </a:r>
            <a:r>
              <a:rPr lang="en-US" sz="2400" dirty="0" err="1" smtClean="0">
                <a:solidFill>
                  <a:srgbClr val="002060"/>
                </a:solidFill>
              </a:rPr>
              <a:t>driver.manage</a:t>
            </a:r>
            <a:r>
              <a:rPr lang="en-US" sz="2400" dirty="0" smtClean="0">
                <a:solidFill>
                  <a:srgbClr val="002060"/>
                </a:solidFill>
              </a:rPr>
              <a:t>().timeouts().</a:t>
            </a:r>
            <a:r>
              <a:rPr lang="en-US" sz="2400" dirty="0" err="1" smtClean="0">
                <a:solidFill>
                  <a:srgbClr val="002060"/>
                </a:solidFill>
              </a:rPr>
              <a:t>implicitlywait</a:t>
            </a:r>
            <a:r>
              <a:rPr lang="en-US" sz="2400" dirty="0" smtClean="0">
                <a:solidFill>
                  <a:srgbClr val="002060"/>
                </a:solidFill>
              </a:rPr>
              <a:t>(10,TimeUnit.SECONDS)</a:t>
            </a:r>
          </a:p>
          <a:p>
            <a:endParaRPr lang="en-US" sz="2400" dirty="0" smtClean="0">
              <a:solidFill>
                <a:srgbClr val="002060"/>
              </a:solidFill>
            </a:endParaRPr>
          </a:p>
          <a:p>
            <a:endParaRPr lang="en-US" sz="2400" dirty="0" smtClean="0">
              <a:solidFill>
                <a:srgbClr val="00206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Explicit Wait-used to set waiting time for particular instance only, based on expected condition</a:t>
            </a:r>
          </a:p>
          <a:p>
            <a:r>
              <a:rPr lang="en-US" sz="2400" dirty="0">
                <a:solidFill>
                  <a:srgbClr val="002060"/>
                </a:solidFill>
              </a:rPr>
              <a:t>	</a:t>
            </a:r>
            <a:r>
              <a:rPr lang="en-US" sz="2400" dirty="0" err="1" smtClean="0">
                <a:solidFill>
                  <a:srgbClr val="002060"/>
                </a:solidFill>
              </a:rPr>
              <a:t>WebDriverWait</a:t>
            </a:r>
            <a:r>
              <a:rPr lang="en-US" sz="2400" dirty="0" smtClean="0">
                <a:solidFill>
                  <a:srgbClr val="002060"/>
                </a:solidFill>
              </a:rPr>
              <a:t> wait=new </a:t>
            </a:r>
            <a:r>
              <a:rPr lang="en-US" sz="2400" dirty="0" err="1" smtClean="0">
                <a:solidFill>
                  <a:srgbClr val="002060"/>
                </a:solidFill>
              </a:rPr>
              <a:t>WebDriverWait</a:t>
            </a:r>
            <a:r>
              <a:rPr lang="en-US" sz="2400" dirty="0" smtClean="0">
                <a:solidFill>
                  <a:srgbClr val="002060"/>
                </a:solidFill>
              </a:rPr>
              <a:t>(driver,10)</a:t>
            </a:r>
          </a:p>
          <a:p>
            <a:r>
              <a:rPr lang="en-US" sz="2400" dirty="0" smtClean="0">
                <a:solidFill>
                  <a:srgbClr val="002060"/>
                </a:solidFill>
              </a:rPr>
              <a:t>	</a:t>
            </a:r>
            <a:r>
              <a:rPr lang="en-US" sz="2400" dirty="0" err="1" smtClean="0">
                <a:solidFill>
                  <a:srgbClr val="002060"/>
                </a:solidFill>
              </a:rPr>
              <a:t>wait.until</a:t>
            </a:r>
            <a:r>
              <a:rPr lang="en-US" sz="2400" dirty="0" smtClean="0">
                <a:solidFill>
                  <a:srgbClr val="002060"/>
                </a:solidFill>
              </a:rPr>
              <a:t>(</a:t>
            </a:r>
            <a:r>
              <a:rPr lang="en-US" sz="2400" dirty="0" err="1" smtClean="0">
                <a:solidFill>
                  <a:srgbClr val="002060"/>
                </a:solidFill>
              </a:rPr>
              <a:t>ExpectedConditions.visibilityofElementLocated</a:t>
            </a:r>
            <a:r>
              <a:rPr lang="en-US" sz="2400" dirty="0" smtClean="0">
                <a:solidFill>
                  <a:srgbClr val="002060"/>
                </a:solidFill>
              </a:rPr>
              <a:t>(By.id(“un”)))</a:t>
            </a:r>
            <a:endParaRPr lang="en-US" sz="2400" dirty="0">
              <a:solidFill>
                <a:srgbClr val="002060"/>
              </a:solidFill>
            </a:endParaRP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		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671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Conditions</a:t>
            </a:r>
            <a:endParaRPr lang="en-GB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7348" y="1378424"/>
            <a:ext cx="11700000" cy="4903129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isEnabled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</a:t>
            </a: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isDisplayed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</a:t>
            </a:r>
          </a:p>
          <a:p>
            <a:endParaRPr lang="en-US" sz="24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>
                <a:solidFill>
                  <a:schemeClr val="accent1">
                    <a:lumMod val="75000"/>
                  </a:schemeClr>
                </a:solidFill>
              </a:rPr>
              <a:t>isSelected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()</a:t>
            </a: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			</a:t>
            </a: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										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99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2_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4</TotalTime>
  <Words>123</Words>
  <Application>Microsoft Office PowerPoint</Application>
  <PresentationFormat>Widescreen</PresentationFormat>
  <Paragraphs>83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Rounded MT Bold</vt:lpstr>
      <vt:lpstr>Calibri</vt:lpstr>
      <vt:lpstr>Calibri Light</vt:lpstr>
      <vt:lpstr>Trebuchet MS</vt:lpstr>
      <vt:lpstr>Verdana</vt:lpstr>
      <vt:lpstr>Wingdings</vt:lpstr>
      <vt:lpstr>Wingdings 3</vt:lpstr>
      <vt:lpstr>Office Theme</vt:lpstr>
      <vt:lpstr>Facet</vt:lpstr>
      <vt:lpstr>2_Capgemini Master</vt:lpstr>
      <vt:lpstr>think-cell Slide</vt:lpstr>
      <vt:lpstr>Selenium  </vt:lpstr>
      <vt:lpstr>Web Driver</vt:lpstr>
      <vt:lpstr>Locating GUI Elements</vt:lpstr>
      <vt:lpstr>Commands in Selenium</vt:lpstr>
      <vt:lpstr>Commands in Selenium</vt:lpstr>
      <vt:lpstr>Waits in Selenium</vt:lpstr>
      <vt:lpstr>Conditions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enium</dc:title>
  <dc:creator>Cheriyan, Rincy</dc:creator>
  <cp:lastModifiedBy>Cheriyan, Rincy</cp:lastModifiedBy>
  <cp:revision>21</cp:revision>
  <dcterms:created xsi:type="dcterms:W3CDTF">2019-06-10T11:29:57Z</dcterms:created>
  <dcterms:modified xsi:type="dcterms:W3CDTF">2020-06-08T05:50:45Z</dcterms:modified>
</cp:coreProperties>
</file>